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92" r:id="rId2"/>
    <p:sldId id="364" r:id="rId3"/>
    <p:sldId id="365" r:id="rId4"/>
    <p:sldId id="360" r:id="rId5"/>
  </p:sldIdLst>
  <p:sldSz cx="12192000" cy="6858000"/>
  <p:notesSz cx="10058400" cy="7772400"/>
  <p:custDataLst>
    <p:tags r:id="rId8"/>
  </p:custDataLst>
  <p:defaultTextStyle>
    <a:defPPr>
      <a:defRPr lang="en-US"/>
    </a:defPPr>
    <a:lvl1pPr marL="0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10291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20583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30874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41165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51456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61748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72039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82330" algn="l" defTabSz="41029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2" pos="714" userDrawn="1">
          <p15:clr>
            <a:srgbClr val="A4A3A4"/>
          </p15:clr>
        </p15:guide>
        <p15:guide id="3" pos="7680" userDrawn="1">
          <p15:clr>
            <a:srgbClr val="A4A3A4"/>
          </p15:clr>
        </p15:guide>
        <p15:guide id="5" orient="horz" pos="686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orient="horz" pos="4104" userDrawn="1">
          <p15:clr>
            <a:srgbClr val="A4A3A4"/>
          </p15:clr>
        </p15:guide>
        <p15:guide id="8" orient="horz" pos="1071" userDrawn="1">
          <p15:clr>
            <a:srgbClr val="A4A3A4"/>
          </p15:clr>
        </p15:guide>
        <p15:guide id="9" orient="horz" pos="540" userDrawn="1">
          <p15:clr>
            <a:srgbClr val="A4A3A4"/>
          </p15:clr>
        </p15:guide>
        <p15:guide id="10" orient="horz" pos="832" userDrawn="1">
          <p15:clr>
            <a:srgbClr val="A4A3A4"/>
          </p15:clr>
        </p15:guide>
        <p15:guide id="11" orient="horz" pos="3770" userDrawn="1">
          <p15:clr>
            <a:srgbClr val="A4A3A4"/>
          </p15:clr>
        </p15:guide>
        <p15:guide id="12" pos="7078" userDrawn="1">
          <p15:clr>
            <a:srgbClr val="A4A3A4"/>
          </p15:clr>
        </p15:guide>
        <p15:guide id="13" pos="2417" userDrawn="1">
          <p15:clr>
            <a:srgbClr val="A4A3A4"/>
          </p15:clr>
        </p15:guide>
        <p15:guide id="14" pos="6358" userDrawn="1">
          <p15:clr>
            <a:srgbClr val="A4A3A4"/>
          </p15:clr>
        </p15:guide>
        <p15:guide id="15" pos="1300" userDrawn="1">
          <p15:clr>
            <a:srgbClr val="A4A3A4"/>
          </p15:clr>
        </p15:guide>
        <p15:guide id="16" pos="1886" userDrawn="1">
          <p15:clr>
            <a:srgbClr val="A4A3A4"/>
          </p15:clr>
        </p15:guide>
        <p15:guide id="17" pos="630" userDrawn="1">
          <p15:clr>
            <a:srgbClr val="A4A3A4"/>
          </p15:clr>
        </p15:guide>
        <p15:guide id="18" pos="256" userDrawn="1">
          <p15:clr>
            <a:srgbClr val="A4A3A4"/>
          </p15:clr>
        </p15:guide>
        <p15:guide id="19" pos="3633" userDrawn="1">
          <p15:clr>
            <a:srgbClr val="A4A3A4"/>
          </p15:clr>
        </p15:guide>
        <p15:guide id="20" pos="2208" userDrawn="1">
          <p15:clr>
            <a:srgbClr val="A4A3A4"/>
          </p15:clr>
        </p15:guide>
        <p15:guide id="21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D"/>
    <a:srgbClr val="002997"/>
    <a:srgbClr val="00A3A1"/>
    <a:srgbClr val="005EB8"/>
    <a:srgbClr val="0091DA"/>
    <a:srgbClr val="6D2077"/>
    <a:srgbClr val="470A68"/>
    <a:srgbClr val="4E2379"/>
    <a:srgbClr val="003087"/>
    <a:srgbClr val="C60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59" autoAdjust="0"/>
    <p:restoredTop sz="94704" autoAdjust="0"/>
  </p:normalViewPr>
  <p:slideViewPr>
    <p:cSldViewPr snapToGrid="0">
      <p:cViewPr varScale="1">
        <p:scale>
          <a:sx n="116" d="100"/>
          <a:sy n="116" d="100"/>
        </p:scale>
        <p:origin x="162" y="96"/>
      </p:cViewPr>
      <p:guideLst>
        <p:guide orient="horz" pos="4272"/>
        <p:guide pos="714"/>
        <p:guide pos="7680"/>
        <p:guide orient="horz" pos="686"/>
        <p:guide orient="horz" pos="527"/>
        <p:guide orient="horz" pos="4104"/>
        <p:guide orient="horz" pos="1071"/>
        <p:guide orient="horz" pos="540"/>
        <p:guide orient="horz" pos="832"/>
        <p:guide orient="horz" pos="3770"/>
        <p:guide pos="7078"/>
        <p:guide pos="2417"/>
        <p:guide pos="6358"/>
        <p:guide pos="1300"/>
        <p:guide pos="1886"/>
        <p:guide pos="630"/>
        <p:guide pos="256"/>
        <p:guide pos="3633"/>
        <p:guide pos="2208"/>
        <p:guide pos="3840"/>
      </p:guideLst>
    </p:cSldViewPr>
  </p:slideViewPr>
  <p:outlineViewPr>
    <p:cViewPr>
      <p:scale>
        <a:sx n="33" d="100"/>
        <a:sy n="33" d="100"/>
      </p:scale>
      <p:origin x="0" y="-4550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2030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Univers for KPMG Light" panose="020B04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DEF64C-6444-C54F-9BF0-613CB0CFD382}" type="datetimeFigureOut">
              <a:rPr lang="en-US" smtClean="0">
                <a:latin typeface="Univers for KPMG Light" panose="020B0403020202020204" pitchFamily="34" charset="0"/>
              </a:rPr>
              <a:t>01/12/2016</a:t>
            </a:fld>
            <a:endParaRPr lang="en-US" dirty="0">
              <a:latin typeface="Univers for KPMG Light" panose="020B0403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Univers for KPMG Light" panose="020B0403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97538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18882-9918-3B42-897A-C192067F29E7}" type="slidenum">
              <a:rPr lang="en-US" smtClean="0">
                <a:latin typeface="Univers for KPMG Light" panose="020B0403020202020204" pitchFamily="34" charset="0"/>
              </a:rPr>
              <a:t>‹#›</a:t>
            </a:fld>
            <a:endParaRPr lang="en-US" dirty="0">
              <a:latin typeface="Univers for KPMG Light" panose="020B04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1191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Univers for KPMG Light" panose="020B04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Univers for KPMG Light" panose="020B0403020202020204" pitchFamily="34" charset="0"/>
              </a:defRPr>
            </a:lvl1pPr>
          </a:lstStyle>
          <a:p>
            <a:fld id="{A9B7456A-CD06-0D40-B083-11158BE207ED}" type="datetimeFigureOut">
              <a:rPr lang="en-US" smtClean="0"/>
              <a:pPr/>
              <a:t>01/1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971550"/>
            <a:ext cx="4660900" cy="2622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6475" y="3740150"/>
            <a:ext cx="8045450" cy="3060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Univers for KPMG Light" panose="020B04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7538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Univers for KPMG Light" panose="020B0403020202020204" pitchFamily="34" charset="0"/>
              </a:defRPr>
            </a:lvl1pPr>
          </a:lstStyle>
          <a:p>
            <a:fld id="{E2FEE106-D861-6343-96FF-5BF90692C3C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44562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20583" rtl="0" eaLnBrk="1" latinLnBrk="0" hangingPunct="1">
      <a:defRPr sz="1100" kern="1200">
        <a:solidFill>
          <a:schemeClr val="tx1"/>
        </a:solidFill>
        <a:latin typeface="Univers for KPMG Light" panose="020B0403020202020204" pitchFamily="34" charset="0"/>
        <a:ea typeface="+mn-ea"/>
        <a:cs typeface="+mn-cs"/>
      </a:defRPr>
    </a:lvl1pPr>
    <a:lvl2pPr marL="410291" algn="l" defTabSz="820583" rtl="0" eaLnBrk="1" latinLnBrk="0" hangingPunct="1">
      <a:defRPr sz="1100" kern="1200">
        <a:solidFill>
          <a:schemeClr val="tx1"/>
        </a:solidFill>
        <a:latin typeface="Univers for KPMG Light" panose="020B0403020202020204" pitchFamily="34" charset="0"/>
        <a:ea typeface="+mn-ea"/>
        <a:cs typeface="+mn-cs"/>
      </a:defRPr>
    </a:lvl2pPr>
    <a:lvl3pPr marL="820583" algn="l" defTabSz="820583" rtl="0" eaLnBrk="1" latinLnBrk="0" hangingPunct="1">
      <a:defRPr sz="1100" kern="1200">
        <a:solidFill>
          <a:schemeClr val="tx1"/>
        </a:solidFill>
        <a:latin typeface="Univers for KPMG Light" panose="020B0403020202020204" pitchFamily="34" charset="0"/>
        <a:ea typeface="+mn-ea"/>
        <a:cs typeface="+mn-cs"/>
      </a:defRPr>
    </a:lvl3pPr>
    <a:lvl4pPr marL="1230874" algn="l" defTabSz="820583" rtl="0" eaLnBrk="1" latinLnBrk="0" hangingPunct="1">
      <a:defRPr sz="1100" kern="1200">
        <a:solidFill>
          <a:schemeClr val="tx1"/>
        </a:solidFill>
        <a:latin typeface="Univers for KPMG Light" panose="020B0403020202020204" pitchFamily="34" charset="0"/>
        <a:ea typeface="+mn-ea"/>
        <a:cs typeface="+mn-cs"/>
      </a:defRPr>
    </a:lvl4pPr>
    <a:lvl5pPr marL="1641165" algn="l" defTabSz="820583" rtl="0" eaLnBrk="1" latinLnBrk="0" hangingPunct="1">
      <a:defRPr sz="1100" kern="1200">
        <a:solidFill>
          <a:schemeClr val="tx1"/>
        </a:solidFill>
        <a:latin typeface="Univers for KPMG Light" panose="020B0403020202020204" pitchFamily="34" charset="0"/>
        <a:ea typeface="+mn-ea"/>
        <a:cs typeface="+mn-cs"/>
      </a:defRPr>
    </a:lvl5pPr>
    <a:lvl6pPr marL="2051456" algn="l" defTabSz="82058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61748" algn="l" defTabSz="82058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72039" algn="l" defTabSz="82058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82330" algn="l" defTabSz="82058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8750" y="971550"/>
            <a:ext cx="4660900" cy="2622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FEE106-D861-6343-96FF-5BF90692C3C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876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hyperlink" Target="http://bit.ly/KPMG_Greece" TargetMode="External"/><Relationship Id="rId5" Type="http://schemas.openxmlformats.org/officeDocument/2006/relationships/hyperlink" Target="http://kpmg.com/socialmedia" TargetMode="Externa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733" dirty="0">
              <a:latin typeface="Univers for KPMG Light" panose="020B0403020202020204" pitchFamily="34" charset="0"/>
            </a:endParaRPr>
          </a:p>
        </p:txBody>
      </p:sp>
      <p:sp>
        <p:nvSpPr>
          <p:cNvPr id="3" name="object 3"/>
          <p:cNvSpPr/>
          <p:nvPr userDrawn="1"/>
        </p:nvSpPr>
        <p:spPr>
          <a:xfrm>
            <a:off x="1" y="0"/>
            <a:ext cx="2097617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733" dirty="0">
              <a:latin typeface="Univers for KPMG Light" panose="020B0403020202020204" pitchFamily="34" charset="0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850418" y="4773708"/>
            <a:ext cx="8257702" cy="672353"/>
          </a:xfrm>
          <a:prstGeom prst="rect">
            <a:avLst/>
          </a:prstGeom>
        </p:spPr>
        <p:txBody>
          <a:bodyPr vert="horz" lIns="0" tIns="0" rIns="0" bIns="0"/>
          <a:lstStyle>
            <a:lvl1pPr>
              <a:spcBef>
                <a:spcPts val="272"/>
              </a:spcBef>
              <a:spcAft>
                <a:spcPts val="0"/>
              </a:spcAft>
              <a:defRPr sz="1100" b="0" i="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58578" y="1337703"/>
            <a:ext cx="8257310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727159" y="590517"/>
            <a:ext cx="1570615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7483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82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745" y="292609"/>
            <a:ext cx="10181167" cy="772820"/>
          </a:xfrm>
        </p:spPr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015999" y="1344707"/>
            <a:ext cx="4975497" cy="459454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500" b="1" i="0">
                <a:solidFill>
                  <a:srgbClr val="00338D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2pPr>
            <a:lvl3pPr marL="307077" indent="-283464">
              <a:buFont typeface="Univers for KPMG Light" panose="020B0403020202020204" pitchFamily="34" charset="0"/>
              <a:buChar char="—"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3pPr>
            <a:lvl4pPr marL="624059" indent="-228600">
              <a:buFont typeface="Univers for KPMG Light" panose="020B0403020202020204" pitchFamily="34" charset="0"/>
              <a:buChar char="-"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4pPr>
            <a:lvl5pPr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237676" y="1344707"/>
            <a:ext cx="4959492" cy="459454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1500" b="1" i="0">
                <a:solidFill>
                  <a:srgbClr val="00338D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2pPr>
            <a:lvl3pPr marL="307077" indent="-283464">
              <a:buFont typeface="Univers for KPMG Light" panose="020B0403020202020204" pitchFamily="34" charset="0"/>
              <a:buChar char="—"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3pPr>
            <a:lvl4pPr marL="624059" indent="-228600">
              <a:buFont typeface="Univers for KPMG Light" panose="020B0403020202020204" pitchFamily="34" charset="0"/>
              <a:buChar char="-"/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4pPr>
            <a:lvl5pPr>
              <a:defRPr sz="1500">
                <a:solidFill>
                  <a:srgbClr val="00338D"/>
                </a:solidFill>
                <a:latin typeface="Univers for KPMG Light"/>
                <a:cs typeface="Univers for KPMG Light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6147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28" b="25637"/>
          <a:stretch/>
        </p:blipFill>
        <p:spPr>
          <a:xfrm>
            <a:off x="2816235" y="725938"/>
            <a:ext cx="1421349" cy="411480"/>
          </a:xfrm>
          <a:prstGeom prst="rect">
            <a:avLst/>
          </a:prstGeom>
        </p:spPr>
      </p:pic>
      <p:pic>
        <p:nvPicPr>
          <p:cNvPr id="5" name="Picture 4" descr="KPMG_NoCP_PMS287_US_283_6779.eps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1011937" y="6286249"/>
            <a:ext cx="814620" cy="274320"/>
          </a:xfrm>
          <a:prstGeom prst="rect">
            <a:avLst/>
          </a:prstGeom>
        </p:spPr>
      </p:pic>
      <p:sp>
        <p:nvSpPr>
          <p:cNvPr id="10" name="object 4"/>
          <p:cNvSpPr/>
          <p:nvPr userDrawn="1"/>
        </p:nvSpPr>
        <p:spPr>
          <a:xfrm>
            <a:off x="0" y="0"/>
            <a:ext cx="2097024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733" dirty="0">
              <a:latin typeface="Univers for KPMG Light" panose="020B0403020202020204" pitchFamily="34" charset="0"/>
            </a:endParaRPr>
          </a:p>
        </p:txBody>
      </p:sp>
      <p:sp>
        <p:nvSpPr>
          <p:cNvPr id="11" name="Content Placeholder 1"/>
          <p:cNvSpPr txBox="1">
            <a:spLocks/>
          </p:cNvSpPr>
          <p:nvPr userDrawn="1"/>
        </p:nvSpPr>
        <p:spPr>
          <a:xfrm>
            <a:off x="2904528" y="5163666"/>
            <a:ext cx="7971840" cy="1128901"/>
          </a:xfrm>
          <a:prstGeom prst="rect">
            <a:avLst/>
          </a:prstGeom>
        </p:spPr>
        <p:txBody>
          <a:bodyPr/>
          <a:lstStyle>
            <a:lvl1pPr eaLnBrk="1" hangingPunct="1">
              <a:spcAft>
                <a:spcPts val="600"/>
              </a:spcAft>
              <a:defRPr sz="1500" b="1" i="0">
                <a:solidFill>
                  <a:schemeClr val="tx2"/>
                </a:solidFill>
                <a:latin typeface="Univers for KPMG" panose="020B0603020202020204" pitchFamily="34" charset="0"/>
                <a:cs typeface="Univers for KPMG" panose="020B0603020202020204" pitchFamily="34" charset="0"/>
              </a:defRPr>
            </a:lvl1pPr>
            <a:lvl2pPr marL="0" indent="0" eaLnBrk="1" hangingPunct="1">
              <a:spcAft>
                <a:spcPts val="600"/>
              </a:spcAft>
              <a:buFontTx/>
              <a:buNone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 marL="285750" indent="-285750" eaLnBrk="1" hangingPunct="1">
              <a:spcAft>
                <a:spcPts val="600"/>
              </a:spcAft>
              <a:buClrTx/>
              <a:buFont typeface="Univers for KPMG"/>
              <a:buChar char="—"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 marL="571500" indent="-228600" eaLnBrk="1" hangingPunct="1">
              <a:spcAft>
                <a:spcPts val="600"/>
              </a:spcAft>
              <a:buFont typeface="Univers for KPMG"/>
              <a:buChar char="-"/>
              <a:defRPr sz="1500" b="0" i="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 eaLnBrk="1" hangingPunct="1">
              <a:spcAft>
                <a:spcPts val="600"/>
              </a:spcAft>
              <a:defRPr sz="1500" b="0" i="0">
                <a:solidFill>
                  <a:schemeClr val="accent5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1" defTabSz="990570"/>
            <a:endParaRPr lang="en-US" altLang="en-US" sz="1100" kern="0" dirty="0">
              <a:solidFill>
                <a:schemeClr val="bg1">
                  <a:lumMod val="65000"/>
                </a:schemeClr>
              </a:solidFill>
              <a:latin typeface="Univers for KPMG" panose="020B0603020202020204" pitchFamily="34" charset="0"/>
            </a:endParaRPr>
          </a:p>
          <a:p>
            <a:pPr lvl="1" defTabSz="990570"/>
            <a:endParaRPr lang="en-US" sz="1100" kern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Content Placeholder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2904528" y="4059181"/>
            <a:ext cx="7971840" cy="2426287"/>
          </a:xfrm>
          <a:prstGeom prst="rect">
            <a:avLst/>
          </a:prstGeom>
        </p:spPr>
        <p:txBody>
          <a:bodyPr/>
          <a:lstStyle>
            <a:lvl1pPr eaLnBrk="1" hangingPunct="1">
              <a:spcAft>
                <a:spcPts val="600"/>
              </a:spcAft>
              <a:defRPr sz="1500" b="1" i="0">
                <a:solidFill>
                  <a:schemeClr val="tx2"/>
                </a:solidFill>
                <a:latin typeface="Univers for KPMG" panose="020B0603020202020204" pitchFamily="34" charset="0"/>
                <a:cs typeface="Univers for KPMG" panose="020B0603020202020204" pitchFamily="34" charset="0"/>
              </a:defRPr>
            </a:lvl1pPr>
            <a:lvl2pPr marL="0" indent="0" eaLnBrk="1" hangingPunct="1">
              <a:spcAft>
                <a:spcPts val="600"/>
              </a:spcAft>
              <a:buFontTx/>
              <a:buNone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 marL="285750" indent="-285750" eaLnBrk="1" hangingPunct="1">
              <a:spcAft>
                <a:spcPts val="600"/>
              </a:spcAft>
              <a:buClrTx/>
              <a:buFont typeface="Univers for KPMG"/>
              <a:buChar char="—"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 marL="571500" indent="-228600" eaLnBrk="1" hangingPunct="1">
              <a:spcAft>
                <a:spcPts val="600"/>
              </a:spcAft>
              <a:buFont typeface="Univers for KPMG"/>
              <a:buChar char="-"/>
              <a:defRPr sz="1500" b="0" i="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 eaLnBrk="1" hangingPunct="1">
              <a:spcAft>
                <a:spcPts val="600"/>
              </a:spcAft>
              <a:defRPr sz="1500" b="0" i="0">
                <a:solidFill>
                  <a:schemeClr val="accent5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marL="0" marR="0" lvl="1" indent="0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</a:t>
            </a:r>
            <a:r>
              <a:rPr lang="en-US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 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PMG Σύμβουλοι ΑΕ, Ελληνική </a:t>
            </a:r>
            <a:r>
              <a:rPr lang="el-GR" altLang="el-GR" sz="1100" b="0" i="0" kern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νώνυμη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Εταιρεία</a:t>
            </a:r>
            <a:r>
              <a:rPr lang="en-US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και μέλος του δικτύου ανεξάρτητων εταιρειών-μελών της KPMG</a:t>
            </a:r>
            <a:r>
              <a:rPr lang="en-US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υνδεδεμένων με την KPMG International </a:t>
            </a:r>
            <a:r>
              <a:rPr lang="el-GR" altLang="el-GR" sz="1100" b="0" i="0" kern="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perative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"KPMG International"),</a:t>
            </a:r>
            <a:r>
              <a:rPr lang="en-US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l-GR" alt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νός Ελβετικού νομικού προσώπου. Με την επιφύλαξη κάθε δικαιώματος.</a:t>
            </a:r>
            <a:endParaRPr lang="en-US" altLang="el-GR" sz="1100" b="0" i="0" kern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100" b="0" i="0" kern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l-GR" sz="1100" b="0" i="0" kern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Οι πληροφορίες που περιέχονται στο παρόν είναι γενικού χαρακτήρα και δεν προορίζονται για την αντιμετώπιση περιστάσεων που αφορούν συγκεκριμένα φυσικά πρόσωπα ή οντότητες. Αν και προσπαθούμε να παρέχουμε ακριβείς και έγκαιρες πληροφορίες, δεν μπορεί να υπάρξει καμία εγγύηση ότι οι πληροφορίες αυτές είναι ακριβείς την ημερομηνία παραλαβής τους ή ότι θα παραμείνουν να είναι ακριβείς στο μέλλον. Δεν θα πρέπει να λαμβάνονται αποφάσεις βάσει των πληροφορίων αυτών χωρίς την κατάλληλη επαγγελματική συμβουλή μετά από ενδελεχή εξέταση της συγκεκριμένης κατάστασης.</a:t>
            </a:r>
            <a:endParaRPr lang="en-US" sz="1100" b="0" i="0" kern="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990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CA" sz="1100" b="0" i="0" kern="0" dirty="0">
              <a:solidFill>
                <a:schemeClr val="bg1">
                  <a:lumMod val="65000"/>
                </a:schemeClr>
              </a:solidFill>
              <a:latin typeface="Univers for KPMG" panose="020B0603020202020204" pitchFamily="34" charset="0"/>
              <a:ea typeface="+mn-ea"/>
              <a:cs typeface="Univers for KPMG Light" panose="020B0403020202020204" pitchFamily="34" charset="0"/>
            </a:endParaRPr>
          </a:p>
          <a:p>
            <a:pPr lvl="1" defTabSz="990570"/>
            <a:endParaRPr lang="en-CA" altLang="en-US" sz="1100" kern="0" dirty="0">
              <a:solidFill>
                <a:schemeClr val="bg1">
                  <a:lumMod val="65000"/>
                </a:schemeClr>
              </a:solidFill>
              <a:latin typeface="Univers for KPMG" panose="020B0603020202020204" pitchFamily="34" charset="0"/>
            </a:endParaRPr>
          </a:p>
          <a:p>
            <a:pPr lvl="1" defTabSz="990570"/>
            <a:endParaRPr lang="en-CA" altLang="en-US" sz="1100" kern="0" dirty="0">
              <a:solidFill>
                <a:schemeClr val="bg1">
                  <a:lumMod val="65000"/>
                </a:schemeClr>
              </a:solidFill>
              <a:latin typeface="Univers for KPMG" panose="020B0603020202020204" pitchFamily="34" charset="0"/>
            </a:endParaRPr>
          </a:p>
          <a:p>
            <a:pPr lvl="1" defTabSz="990570"/>
            <a:endParaRPr lang="en-US" sz="1100" kern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" name="Rectangle 17">
            <a:hlinkClick r:id="rId5"/>
          </p:cNvPr>
          <p:cNvSpPr>
            <a:spLocks noChangeArrowheads="1"/>
          </p:cNvSpPr>
          <p:nvPr userDrawn="1"/>
        </p:nvSpPr>
        <p:spPr bwMode="auto">
          <a:xfrm>
            <a:off x="3048002" y="3291368"/>
            <a:ext cx="233639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300" b="1" i="0" u="none" kern="0" dirty="0">
                <a:solidFill>
                  <a:schemeClr val="tx2"/>
                </a:solidFill>
                <a:latin typeface="Univers for KPMG" panose="020B0603020202020204" pitchFamily="34" charset="0"/>
                <a:ea typeface="Univers for KPMG" pitchFamily="18" charset="0"/>
                <a:cs typeface="Univers for KPMG"/>
              </a:rPr>
              <a:t>LinkedIn KPMG Greece</a:t>
            </a:r>
          </a:p>
        </p:txBody>
      </p:sp>
      <p:pic>
        <p:nvPicPr>
          <p:cNvPr id="20" name="Picture 19">
            <a:hlinkClick r:id="rId6"/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98" r="68708" b="-3338"/>
          <a:stretch/>
        </p:blipFill>
        <p:spPr bwMode="auto">
          <a:xfrm>
            <a:off x="3146046" y="3562129"/>
            <a:ext cx="434821" cy="33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89736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emf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5793384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itle Placeholder 77"/>
          <p:cNvSpPr>
            <a:spLocks noGrp="1"/>
          </p:cNvSpPr>
          <p:nvPr>
            <p:ph type="title"/>
          </p:nvPr>
        </p:nvSpPr>
        <p:spPr>
          <a:xfrm>
            <a:off x="999745" y="292609"/>
            <a:ext cx="10181167" cy="768992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hape 36"/>
          <p:cNvSpPr/>
          <p:nvPr userDrawn="1"/>
        </p:nvSpPr>
        <p:spPr>
          <a:xfrm>
            <a:off x="2009425" y="6300227"/>
            <a:ext cx="8421510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lang="el-GR" altLang="el-GR" sz="65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© </a:t>
            </a:r>
            <a:r>
              <a:rPr lang="en-US" altLang="el-GR" sz="65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2016 </a:t>
            </a:r>
            <a:r>
              <a:rPr lang="el-GR" altLang="el-GR" sz="65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KPMG Σύμβουλοι ΑΕ, Ελληνική </a:t>
            </a:r>
            <a:r>
              <a:rPr lang="el-GR" altLang="el-GR" sz="650" kern="1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Aνώνυμη</a:t>
            </a:r>
            <a:r>
              <a:rPr lang="el-GR" altLang="el-GR" sz="65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 Εταιρεία και μέλος του δικτύου ανεξάρτητων εταιρειών-μελών της KPMG συνδεδεμένων με την KPMG International </a:t>
            </a:r>
            <a:r>
              <a:rPr lang="el-GR" altLang="el-GR" sz="650" kern="1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Cooperative</a:t>
            </a:r>
            <a:r>
              <a:rPr lang="el-GR" altLang="el-GR" sz="65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Univers for KPMG Light"/>
                <a:cs typeface="Arial" panose="020B0604020202020204" pitchFamily="34" charset="0"/>
              </a:rPr>
              <a:t> ("KPMG International"), ενός Ελβετικού νομικού προσώπου. Με την επιφύλαξη κάθε δικαιώματος.</a:t>
            </a:r>
            <a:endParaRPr lang="en-US" altLang="el-GR" sz="650" kern="1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Univers for KPMG Light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lang="el-GR" altLang="el-GR" sz="600" dirty="0">
                <a:solidFill>
                  <a:srgbClr val="00338D"/>
                </a:solidFill>
              </a:rPr>
              <a:t> </a:t>
            </a:r>
            <a:endParaRPr lang="en-US" altLang="el-GR" sz="600" dirty="0">
              <a:solidFill>
                <a:srgbClr val="00338D"/>
              </a:solidFill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650" dirty="0">
              <a:solidFill>
                <a:schemeClr val="bg1">
                  <a:lumMod val="65000"/>
                </a:schemeClr>
              </a:solidFill>
              <a:latin typeface="Univers for KPMG Light"/>
              <a:ea typeface="Univers for KPMG Light"/>
              <a:cs typeface="Univers for KPMG Light"/>
            </a:endParaRPr>
          </a:p>
        </p:txBody>
      </p:sp>
      <p:sp>
        <p:nvSpPr>
          <p:cNvPr id="7" name="TextBox 6"/>
          <p:cNvSpPr txBox="1"/>
          <p:nvPr userDrawn="1">
            <p:custDataLst>
              <p:tags r:id="rId7"/>
            </p:custDataLst>
          </p:nvPr>
        </p:nvSpPr>
        <p:spPr>
          <a:xfrm>
            <a:off x="4232632" y="6618860"/>
            <a:ext cx="397509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" b="1" dirty="0">
                <a:solidFill>
                  <a:schemeClr val="tx1"/>
                </a:solidFill>
                <a:latin typeface="Univers for KPMG" panose="020B0603020202020204" pitchFamily="34" charset="0"/>
                <a:cs typeface="Univers for KPMG"/>
              </a:rPr>
              <a:t>Document Classification: KPMG Confidentia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999745" y="1349086"/>
            <a:ext cx="10207296" cy="45987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 descr="KPMG_NoCP_PMS287_US_283_6779.eps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923638" y="6294716"/>
            <a:ext cx="814620" cy="274320"/>
          </a:xfrm>
          <a:prstGeom prst="rect">
            <a:avLst/>
          </a:prstGeom>
        </p:spPr>
      </p:pic>
      <p:sp>
        <p:nvSpPr>
          <p:cNvPr id="10" name="Slide Number Placeholder 2"/>
          <p:cNvSpPr txBox="1">
            <a:spLocks/>
          </p:cNvSpPr>
          <p:nvPr userDrawn="1"/>
        </p:nvSpPr>
        <p:spPr>
          <a:xfrm>
            <a:off x="10296995" y="6199965"/>
            <a:ext cx="9100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10291" rtl="0" eaLnBrk="1" latinLnBrk="0" hangingPunct="1">
              <a:defRPr sz="1100" kern="1200">
                <a:solidFill>
                  <a:srgbClr val="00338D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720C74-DF7F-4219-833F-24107FE1C2EA}" type="slidenum">
              <a:rPr lang="en-CA" sz="1100" smtClean="0"/>
              <a:pPr/>
              <a:t>‹#›</a:t>
            </a:fld>
            <a:endParaRPr lang="en-CA" sz="11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15" r:id="rId2"/>
    <p:sldLayoutId id="2147483770" r:id="rId3"/>
  </p:sldLayoutIdLst>
  <p:hf sldNum="0" hdr="0" ftr="0" dt="0"/>
  <p:txStyles>
    <p:titleStyle>
      <a:lvl1pPr algn="l" eaLnBrk="1" hangingPunct="1">
        <a:lnSpc>
          <a:spcPct val="100000"/>
        </a:lnSpc>
        <a:defRPr sz="5400" b="0" i="0">
          <a:solidFill>
            <a:srgbClr val="00338D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50"/>
        </a:spcAft>
        <a:defRPr sz="1500" b="1" i="0">
          <a:solidFill>
            <a:srgbClr val="003087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eaLnBrk="1" hangingPunct="1">
        <a:spcAft>
          <a:spcPts val="600"/>
        </a:spcAft>
        <a:buFont typeface="Univers for KPMG"/>
        <a:buNone/>
        <a:defRPr sz="1500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2pPr>
      <a:lvl3pPr marL="307975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sz="1500" b="0" i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3pPr>
      <a:lvl4pPr marL="623888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sz="1500" b="0" i="0" baseline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4pPr>
      <a:lvl5pPr marL="982663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rgbClr val="003087"/>
          </a:solidFill>
          <a:latin typeface="Univers for KPMG Light" panose="020B0403020202020204" pitchFamily="34" charset="0"/>
          <a:cs typeface="Univers for KPMG" panose="020B0603020202020204" pitchFamily="34" charset="0"/>
        </a:defRPr>
      </a:lvl5pPr>
      <a:lvl6pPr marL="1257300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lang="en-US" sz="1500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6pPr>
      <a:lvl7pPr marL="1619250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rgbClr val="003087"/>
          </a:solidFill>
          <a:latin typeface="Univers for KPMG Light" panose="020B0403020202020204" pitchFamily="34" charset="0"/>
        </a:defRPr>
      </a:lvl7pPr>
      <a:lvl8pPr marL="1885950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lang="en-US" sz="1500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8pPr>
    </p:bodyStyle>
    <p:otherStyle/>
  </p:txStyles>
  <p:extLst mod="1">
    <p:ext uri="{27BBF7A9-308A-43DC-89C8-2F10F3537804}">
      <p15:sldGuideLst xmlns:p15="http://schemas.microsoft.com/office/powerpoint/2012/main">
        <p15:guide id="1" orient="horz" pos="720" userDrawn="1">
          <p15:clr>
            <a:srgbClr val="F26B43"/>
          </p15:clr>
        </p15:guide>
        <p15:guide id="2" pos="704" userDrawn="1">
          <p15:clr>
            <a:srgbClr val="F26B43"/>
          </p15:clr>
        </p15:guide>
        <p15:guide id="3" pos="7680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4272" userDrawn="1">
          <p15:clr>
            <a:srgbClr val="F26B43"/>
          </p15:clr>
        </p15:guide>
        <p15:guide id="7" pos="4096" userDrawn="1">
          <p15:clr>
            <a:srgbClr val="F26B43"/>
          </p15:clr>
        </p15:guide>
        <p15:guide id="8" pos="4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81578" y="1573427"/>
            <a:ext cx="7254617" cy="2608162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l-GR" sz="6000" dirty="0">
                <a:latin typeface="KPMG Greek Extralight" panose="020B0303030202040204" pitchFamily="34" charset="-95"/>
              </a:rPr>
              <a:t>«Σημερινή Κατάσταση Δημογραφικές Εξελίξεις </a:t>
            </a:r>
            <a:br>
              <a:rPr lang="el-GR" sz="6000" dirty="0">
                <a:latin typeface="KPMG Greek Extralight" panose="020B0303030202040204" pitchFamily="34" charset="-95"/>
              </a:rPr>
            </a:br>
            <a:r>
              <a:rPr lang="el-GR" sz="6000" dirty="0">
                <a:latin typeface="KPMG Greek Extralight" panose="020B0303030202040204" pitchFamily="34" charset="-95"/>
              </a:rPr>
              <a:t>&amp; Διεθνής Εμπειρία»</a:t>
            </a:r>
            <a:endParaRPr lang="en-US" sz="6000" dirty="0">
              <a:latin typeface="KPMG Greek Extralight" panose="020B0303030202040204" pitchFamily="34" charset="-95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95676" y="4929448"/>
            <a:ext cx="5173539" cy="258352"/>
          </a:xfrm>
        </p:spPr>
        <p:txBody>
          <a:bodyPr/>
          <a:lstStyle/>
          <a:p>
            <a:pPr>
              <a:spcBef>
                <a:spcPts val="194"/>
              </a:spcBef>
            </a:pPr>
            <a:r>
              <a:rPr lang="el-GR" sz="1200" dirty="0">
                <a:latin typeface="Arial" panose="020B0604020202020204" pitchFamily="34" charset="0"/>
                <a:cs typeface="Arial" panose="020B0604020202020204" pitchFamily="34" charset="0"/>
              </a:rPr>
              <a:t>Συνέδριο ΕΑΕ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94"/>
              </a:spcBef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</a:p>
          <a:p>
            <a:pPr>
              <a:spcBef>
                <a:spcPts val="194"/>
              </a:spcBef>
            </a:pPr>
            <a:r>
              <a:rPr lang="el-GR" sz="1200" dirty="0">
                <a:latin typeface="Arial" panose="020B0604020202020204" pitchFamily="34" charset="0"/>
                <a:cs typeface="Arial" panose="020B0604020202020204" pitchFamily="34" charset="0"/>
              </a:rPr>
              <a:t>2 Δεκεμβρίου 2016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1829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00515" y="101479"/>
            <a:ext cx="9853734" cy="772820"/>
          </a:xfrm>
        </p:spPr>
        <p:txBody>
          <a:bodyPr/>
          <a:lstStyle/>
          <a:p>
            <a:r>
              <a:rPr lang="el-GR" sz="4400" dirty="0">
                <a:latin typeface="KPMG Greek Extralight" panose="020B0303030202040204" pitchFamily="34" charset="-95"/>
              </a:rPr>
              <a:t>Τ</a:t>
            </a:r>
            <a:r>
              <a:rPr lang="en-US" sz="4400" dirty="0">
                <a:latin typeface="KPMG Greek Extralight" panose="020B0303030202040204" pitchFamily="34" charset="-95"/>
              </a:rPr>
              <a:t>ο </a:t>
            </a:r>
            <a:r>
              <a:rPr lang="en-US" sz="4400" dirty="0" err="1">
                <a:latin typeface="KPMG Greek Extralight" panose="020B0303030202040204" pitchFamily="34" charset="-95"/>
              </a:rPr>
              <a:t>Συντ</a:t>
            </a:r>
            <a:r>
              <a:rPr lang="en-US" sz="4400" dirty="0">
                <a:latin typeface="KPMG Greek Extralight" panose="020B0303030202040204" pitchFamily="34" charset="-95"/>
              </a:rPr>
              <a:t>αξιοδοτικό </a:t>
            </a:r>
            <a:r>
              <a:rPr lang="el-GR" sz="4400" dirty="0">
                <a:latin typeface="KPMG Greek Extralight" panose="020B0303030202040204" pitchFamily="34" charset="-95"/>
              </a:rPr>
              <a:t>Σ</a:t>
            </a:r>
            <a:r>
              <a:rPr lang="en-US" sz="4400" dirty="0" err="1">
                <a:latin typeface="KPMG Greek Extralight" panose="020B0303030202040204" pitchFamily="34" charset="-95"/>
              </a:rPr>
              <a:t>ύστημ</a:t>
            </a:r>
            <a:r>
              <a:rPr lang="en-US" sz="4400" dirty="0">
                <a:latin typeface="KPMG Greek Extralight" panose="020B0303030202040204" pitchFamily="34" charset="-95"/>
              </a:rPr>
              <a:t>α της Ολλανδίας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063750" y="946106"/>
            <a:ext cx="8304214" cy="267118"/>
          </a:xfrm>
        </p:spPr>
        <p:txBody>
          <a:bodyPr/>
          <a:lstStyle/>
          <a:p>
            <a:pPr algn="l"/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l-GR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ος</a:t>
            </a: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 Πυλώνας: Αναδιανεμητικό σύστημα (2% συσσώρευσης σύνταξης ετησίως)</a:t>
            </a:r>
            <a:endParaRPr lang="en-US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8687014"/>
              </p:ext>
            </p:extLst>
          </p:nvPr>
        </p:nvGraphicFramePr>
        <p:xfrm>
          <a:off x="2063144" y="1264829"/>
          <a:ext cx="9165029" cy="86836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4152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12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νταξιοδοτικές απολαβές ζεύγους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0 Ευρώ έκαστος (50% του κατώτατου μισθού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τομικές συνταξιοδοτικές απολαβές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1000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υρώ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0%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του κατώτατου μισθού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αλύπτει οποιοδήποτε εργάζεται ή ζει στην Ολλανδί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044097" y="2367636"/>
            <a:ext cx="8304214" cy="267118"/>
          </a:xfrm>
        </p:spPr>
        <p:txBody>
          <a:bodyPr/>
          <a:lstStyle/>
          <a:p>
            <a:pPr algn="l"/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2ος Πυλώνας: </a:t>
            </a:r>
            <a:r>
              <a:rPr lang="el-GR" sz="1400" dirty="0" err="1">
                <a:latin typeface="Arial" panose="020B0604020202020204" pitchFamily="34" charset="0"/>
                <a:cs typeface="Arial" panose="020B0604020202020204" pitchFamily="34" charset="0"/>
              </a:rPr>
              <a:t>Κεφαλαιοποιητικό</a:t>
            </a: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 σύστημα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9911722"/>
              </p:ext>
            </p:extLst>
          </p:nvPr>
        </p:nvGraphicFramePr>
        <p:xfrm>
          <a:off x="2067561" y="2653843"/>
          <a:ext cx="9185325" cy="2282828"/>
        </p:xfrm>
        <a:graphic>
          <a:graphicData uri="http://schemas.openxmlformats.org/drawingml/2006/table">
            <a:tbl>
              <a:tblPr firstRow="1" firstCol="1" bandRow="1"/>
              <a:tblGrid>
                <a:gridCol w="27061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828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6281">
                  <a:extLst>
                    <a:ext uri="{9D8B030D-6E8A-4147-A177-3AD203B41FA5}">
                      <a16:colId xmlns:a16="http://schemas.microsoft.com/office/drawing/2014/main" val="27808537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Συμμετοχή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Άνω του 90% των εργαζομένω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ερισσότερα από 600 ταμεί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Συνολικά 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ενδεδυμένα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κεφάλαια των ταμείω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0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δις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ΕΠ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600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δις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πονομή / Εισφορές συντάξεων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% του ΑΕΠ καταβάλλεται ως σύνταξη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 του ΑΕΠ εισφέρεται στα ταμεί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πόδοση επενδύσεω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5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Μεταβολή εισφορών/ παροχ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ύξηση στο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%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πό το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Μειώσεις σε συνδυασμό με ελάττωση των παροχ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Χαμηλά έξοδα διαχείρισης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ερίπου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,5%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ί των εισφορ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οσοστό αναπλήρωσης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Έως 9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%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των μέσων μισθ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Δικαίωμα</a:t>
                      </a:r>
                      <a:r>
                        <a:rPr lang="el-GR" sz="1400" baseline="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σύνταξης (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μ.ο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)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 ετ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€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.800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 έτος (€1650 / μήνα)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3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044096" y="5144419"/>
            <a:ext cx="8846325" cy="954590"/>
          </a:xfrm>
        </p:spPr>
        <p:txBody>
          <a:bodyPr/>
          <a:lstStyle/>
          <a:p>
            <a:pPr algn="l">
              <a:lnSpc>
                <a:spcPct val="107000"/>
              </a:lnSpc>
              <a:spcAft>
                <a:spcPts val="0"/>
              </a:spcAft>
            </a:pP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3ος Πυλώνας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07000"/>
              </a:lnSpc>
            </a:pPr>
            <a:r>
              <a:rPr lang="el-GR" sz="1400" b="0" dirty="0">
                <a:latin typeface="Arial" panose="020B0604020202020204" pitchFamily="34" charset="0"/>
                <a:cs typeface="Arial" panose="020B0604020202020204" pitchFamily="34" charset="0"/>
              </a:rPr>
              <a:t>Σχηματίζεται από ατομικά συνταξιοδοτικά προϊόντα. Απευθύνεται σε αυτοαπασχολούμενους και εργαζομένους που δεν περιλαμβάνονται στο συνταξιοδοτικό σύστημα.  Οποιοσδήποτε μπορεί να αγοράσει συνταξιοδοτικό προϊόν για τις ανάγκες του. Υφίστανται φορολογικά οφέλη.</a:t>
            </a:r>
            <a:endParaRPr lang="en-US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191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00515" y="101479"/>
            <a:ext cx="9730166" cy="772820"/>
          </a:xfrm>
        </p:spPr>
        <p:txBody>
          <a:bodyPr/>
          <a:lstStyle/>
          <a:p>
            <a:r>
              <a:rPr lang="el-GR" sz="4400" dirty="0">
                <a:latin typeface="KPMG Greek Extralight" panose="020B0303030202040204" pitchFamily="34" charset="-95"/>
              </a:rPr>
              <a:t>Τ</a:t>
            </a:r>
            <a:r>
              <a:rPr lang="en-US" sz="4400" dirty="0">
                <a:latin typeface="KPMG Greek Extralight" panose="020B0303030202040204" pitchFamily="34" charset="-95"/>
              </a:rPr>
              <a:t>ο </a:t>
            </a:r>
            <a:r>
              <a:rPr lang="en-US" sz="4400" dirty="0" err="1">
                <a:latin typeface="KPMG Greek Extralight" panose="020B0303030202040204" pitchFamily="34" charset="-95"/>
              </a:rPr>
              <a:t>Συντ</a:t>
            </a:r>
            <a:r>
              <a:rPr lang="en-US" sz="4400" dirty="0">
                <a:latin typeface="KPMG Greek Extralight" panose="020B0303030202040204" pitchFamily="34" charset="-95"/>
              </a:rPr>
              <a:t>αξιοδοτικό </a:t>
            </a:r>
            <a:r>
              <a:rPr lang="el-GR" sz="4400" dirty="0">
                <a:latin typeface="KPMG Greek Extralight" panose="020B0303030202040204" pitchFamily="34" charset="-95"/>
              </a:rPr>
              <a:t>Σ</a:t>
            </a:r>
            <a:r>
              <a:rPr lang="en-US" sz="4400" dirty="0" err="1">
                <a:latin typeface="KPMG Greek Extralight" panose="020B0303030202040204" pitchFamily="34" charset="-95"/>
              </a:rPr>
              <a:t>ύστημ</a:t>
            </a:r>
            <a:r>
              <a:rPr lang="en-US" sz="4400" dirty="0">
                <a:latin typeface="KPMG Greek Extralight" panose="020B0303030202040204" pitchFamily="34" charset="-95"/>
              </a:rPr>
              <a:t>α της </a:t>
            </a:r>
            <a:r>
              <a:rPr lang="el-GR" sz="4400" dirty="0">
                <a:latin typeface="KPMG Greek Extralight" panose="020B0303030202040204" pitchFamily="34" charset="-95"/>
              </a:rPr>
              <a:t>Φιλανδίας</a:t>
            </a:r>
            <a:endParaRPr lang="en-US" sz="4400" dirty="0">
              <a:latin typeface="KPMG Greek Extralight" panose="020B0303030202040204" pitchFamily="34" charset="-95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471213"/>
              </p:ext>
            </p:extLst>
          </p:nvPr>
        </p:nvGraphicFramePr>
        <p:xfrm>
          <a:off x="2063748" y="1100680"/>
          <a:ext cx="8966717" cy="473994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4141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75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452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ικονομικά στοιχεία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ληθυσμός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,5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εκ.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ΕΠ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υρώ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207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ς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521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μμετοχή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Άνω του 87,5% των εργαζομένων ασφαλίζεται με βάση το 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εφαλαιοποιητικό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σύστημ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 ταμεία λειτουργούν με βάση το 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εφαλαιοποιητικό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σύστημα (2015)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15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οσοστό αναπλήρωσης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%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των μέσων μισθών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Για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χρόνια εργασίας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109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πονομή/ Εισφορές συντάξεων (% του ΑΕΠ)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3% του ΑΕΠ καταβάλλεται ως σύνταξη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3% του ΑΕΠ εισφέρεται στα ταμεί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67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b="1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ετ</a:t>
                      </a:r>
                      <a:r>
                        <a:rPr lang="en-US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βολή εισφορών/ παροχών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νολικό ποσοστό εργοδότη/ ασφαλισμένου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7%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726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εριουσιακά στοιχεία επαγγελματικών ταμείων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7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ς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υρώ</a:t>
                      </a:r>
                      <a:r>
                        <a:rPr lang="el-GR" sz="1400" baseline="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4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κ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έλη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102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πόδοση επενδύσεων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26% για καθορισμένης παροχής ταμεία (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.ο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14 τελευταίων ετών)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8% για καθορισμένης</a:t>
                      </a:r>
                      <a:r>
                        <a:rPr lang="el-GR" sz="1400" baseline="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ισφοράς ταμεία (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.ο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14 τελευταίων ετών)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5875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έση καταβαλλόμενη σύνταξη 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τα 65 έτη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Γυναίκες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1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υρώ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15)</a:t>
                      </a:r>
                      <a:endParaRPr lang="el-GR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45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Άντρες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3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Ευρώ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045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l-GR" sz="1400" b="1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αταβαλλόμενες συντάξεις</a:t>
                      </a:r>
                      <a:endParaRPr lang="en-US" sz="1400" b="1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9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ς</a:t>
                      </a:r>
                      <a:r>
                        <a:rPr lang="en-US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υρώ συνολικά 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3 δις Ευρώ</a:t>
                      </a:r>
                      <a:r>
                        <a:rPr lang="el-GR" sz="1400" baseline="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φορούν το </a:t>
                      </a:r>
                      <a:r>
                        <a:rPr lang="el-GR" sz="1400" dirty="0" err="1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εφαλαιοποιητικό</a:t>
                      </a:r>
                      <a:r>
                        <a:rPr lang="el-GR" sz="1400" dirty="0">
                          <a:solidFill>
                            <a:srgbClr val="00338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σύστημα</a:t>
                      </a:r>
                      <a:endParaRPr lang="en-US" sz="1400" dirty="0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934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780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4.41"/>
  <p:tag name="TYPE" val="Report"/>
  <p:tag name="KEYWORD" val="REPORT"/>
  <p:tag name="TEMPLATEVERSION" val="10/11/2015 18:25: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1" val="TRUE"/>
</p:tagLst>
</file>

<file path=ppt/theme/theme1.xml><?xml version="1.0" encoding="utf-8"?>
<a:theme xmlns:a="http://schemas.openxmlformats.org/drawingml/2006/main" name="KPMG_Standard_4x3_0923_2015">
  <a:themeElements>
    <a:clrScheme name="Custom 3">
      <a:dk1>
        <a:srgbClr val="000000"/>
      </a:dk1>
      <a:lt1>
        <a:srgbClr val="FFFFFF"/>
      </a:lt1>
      <a:dk2>
        <a:srgbClr val="00338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MG Report Standard Template.potx" id="{5E67CB3A-314B-4B72-970F-DCD15CEC7CF9}" vid="{AB8D2AB0-D185-4DD5-8E25-A0B3F8280F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Report Standard Template</Template>
  <TotalTime>216</TotalTime>
  <Words>359</Words>
  <Application>Microsoft Office PowerPoint</Application>
  <PresentationFormat>Widescreen</PresentationFormat>
  <Paragraphs>67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KPMG Extralight</vt:lpstr>
      <vt:lpstr>KPMG Greek Extralight</vt:lpstr>
      <vt:lpstr>Univers for KPMG</vt:lpstr>
      <vt:lpstr>Univers for KPMG Light</vt:lpstr>
      <vt:lpstr>KPMG_Standard_4x3_0923_2015</vt:lpstr>
      <vt:lpstr>think-cell Slide</vt:lpstr>
      <vt:lpstr>«Σημερινή Κατάσταση Δημογραφικές Εξελίξεις  &amp; Διεθνής Εμπειρία»</vt:lpstr>
      <vt:lpstr>Το Συνταξιοδοτικό Σύστημα της Ολλανδίας</vt:lpstr>
      <vt:lpstr>Το Συνταξιοδοτικό Σύστημα της Φιλανδίας</vt:lpstr>
      <vt:lpstr>PowerPoint Presentation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template</dc:title>
  <dc:creator>Kalamitsi, Anna-Maria</dc:creator>
  <dc:description>KPMG Report Standard Template A4 GPPT 5.0</dc:description>
  <cp:lastModifiedBy>Maria Lampropoulou</cp:lastModifiedBy>
  <cp:revision>32</cp:revision>
  <cp:lastPrinted>2015-10-12T21:36:35Z</cp:lastPrinted>
  <dcterms:created xsi:type="dcterms:W3CDTF">2016-01-22T08:32:55Z</dcterms:created>
  <dcterms:modified xsi:type="dcterms:W3CDTF">2016-12-01T16:35:02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8-11T00:00:00Z</vt:filetime>
  </property>
  <property fmtid="{D5CDD505-2E9C-101B-9397-08002B2CF9AE}" pid="3" name="LastSaved">
    <vt:filetime>2015-08-11T00:00:00Z</vt:filetime>
  </property>
</Properties>
</file>